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52"/>
  </p:notesMasterIdLst>
  <p:sldIdLst>
    <p:sldId id="3343" r:id="rId9"/>
    <p:sldId id="3346" r:id="rId10"/>
    <p:sldId id="2145705568" r:id="rId11"/>
    <p:sldId id="2145705566" r:id="rId12"/>
    <p:sldId id="2147375019" r:id="rId13"/>
    <p:sldId id="2147375017" r:id="rId14"/>
    <p:sldId id="2145705874" r:id="rId15"/>
    <p:sldId id="2145705878" r:id="rId16"/>
    <p:sldId id="2145705879" r:id="rId17"/>
    <p:sldId id="2145705900" r:id="rId18"/>
    <p:sldId id="2147375020" r:id="rId19"/>
    <p:sldId id="2145705872" r:id="rId20"/>
    <p:sldId id="2145705907" r:id="rId21"/>
    <p:sldId id="2147375014" r:id="rId22"/>
    <p:sldId id="2145705889" r:id="rId23"/>
    <p:sldId id="2147375021" r:id="rId24"/>
    <p:sldId id="2147375027" r:id="rId25"/>
    <p:sldId id="2147375000" r:id="rId26"/>
    <p:sldId id="2147375004" r:id="rId27"/>
    <p:sldId id="2147375005" r:id="rId28"/>
    <p:sldId id="2147375006" r:id="rId29"/>
    <p:sldId id="2147375007" r:id="rId30"/>
    <p:sldId id="2147375025" r:id="rId31"/>
    <p:sldId id="2147375026" r:id="rId32"/>
    <p:sldId id="2147375024" r:id="rId33"/>
    <p:sldId id="2147375022" r:id="rId34"/>
    <p:sldId id="2147375023" r:id="rId35"/>
    <p:sldId id="2147375012" r:id="rId36"/>
    <p:sldId id="2147375010" r:id="rId37"/>
    <p:sldId id="2147375008" r:id="rId38"/>
    <p:sldId id="2147375009" r:id="rId39"/>
    <p:sldId id="2147374999" r:id="rId40"/>
    <p:sldId id="2147375001" r:id="rId41"/>
    <p:sldId id="2147375002" r:id="rId42"/>
    <p:sldId id="2145705903" r:id="rId43"/>
    <p:sldId id="2147375015" r:id="rId44"/>
    <p:sldId id="2147375016" r:id="rId45"/>
    <p:sldId id="2145705910" r:id="rId46"/>
    <p:sldId id="13686" r:id="rId47"/>
    <p:sldId id="2145705876" r:id="rId48"/>
    <p:sldId id="2145705875" r:id="rId49"/>
    <p:sldId id="2147374998" r:id="rId50"/>
    <p:sldId id="2147375018" r:id="rId5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32FF"/>
    <a:srgbClr val="002E3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96"/>
    <p:restoredTop sz="94813"/>
  </p:normalViewPr>
  <p:slideViewPr>
    <p:cSldViewPr snapToGrid="0">
      <p:cViewPr varScale="1">
        <p:scale>
          <a:sx n="138" d="100"/>
          <a:sy n="138" d="100"/>
        </p:scale>
        <p:origin x="35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tableStyles" Target="tableStyles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11/20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83344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1665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751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0304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AE4D2E-A8B3-DE48-8895-53F4C69FA7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96023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45293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4260B-9F57-4BD3-A18C-DE12DD8F2E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1B60E3-EE3D-49E2-AEB7-94027F01E7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AD8690-23F0-4D41-858D-108721FB0B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37C08-BA8D-4358-8F06-29AEB1D33570}" type="datetimeFigureOut">
              <a:rPr lang="en-US" smtClean="0"/>
              <a:t>11/20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B7BD80-5B23-4944-95FC-08D33E209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EB1144-D5C8-45AE-8A22-67AA80784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2710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E6840-C63C-43DA-A1E4-CA0B11F36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AC9D0D-8F16-4006-8A6F-562569FA64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1DF43-8703-4850-A51E-8EBE996996B1}" type="datetimeFigureOut">
              <a:rPr lang="en-US" smtClean="0"/>
              <a:t>11/20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6EF7BC-2905-4DC4-A1D6-A4A87EA57C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11BAF5-CB84-4F34-BB6A-C81696C4C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FBEBA3-68A6-402F-93F2-E908E2AAD8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7997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microsoft.com/office/2007/relationships/hdphoto" Target="../media/hdphoto1.wdp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1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5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9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3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7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733" r:id="rId22"/>
    <p:sldLayoutId id="2147483734" r:id="rId23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emf"/><Relationship Id="rId2" Type="http://schemas.openxmlformats.org/officeDocument/2006/relationships/image" Target="../media/image84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86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2.bin"/><Relationship Id="rId9" Type="http://schemas.openxmlformats.org/officeDocument/2006/relationships/image" Target="../media/image97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emf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9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98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0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110.jpe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0.jpe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emf"/><Relationship Id="rId2" Type="http://schemas.openxmlformats.org/officeDocument/2006/relationships/image" Target="../media/image123.emf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2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5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emf"/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image" Target="../media/image82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6"/>
            <a:ext cx="4465469" cy="1373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0" dirty="0">
                <a:solidFill>
                  <a:schemeClr val="tx1"/>
                </a:solidFill>
                <a:effectLst/>
              </a:rPr>
              <a:t>HTT SM Splice Modulator Full Team Meeting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Nov </a:t>
            </a:r>
            <a:r>
              <a:rPr lang="en-US" altLang="zh-CN" sz="1400" b="1" i="1" dirty="0">
                <a:solidFill>
                  <a:schemeClr val="tx1"/>
                </a:solidFill>
                <a:cs typeface="Arial"/>
              </a:rPr>
              <a:t>21</a:t>
            </a:r>
            <a:r>
              <a:rPr lang="en-US" sz="1400" b="1" i="1" dirty="0">
                <a:solidFill>
                  <a:schemeClr val="tx1"/>
                </a:solidFill>
                <a:cs typeface="Arial"/>
              </a:rPr>
              <a:t>, 2022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 Update for HTT Splicing Enhancers</a:t>
            </a:r>
          </a:p>
          <a:p>
            <a:pPr algn="ctr"/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Cross-Cells/Cross-Experiment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-Target Assessment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/>
          <p:nvPr/>
        </p:nvCxnSpPr>
        <p:spPr>
          <a:xfrm flipH="1" flipV="1">
            <a:off x="5557157" y="2873829"/>
            <a:ext cx="48986" cy="3075214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/>
          <p:nvPr/>
        </p:nvCxnSpPr>
        <p:spPr>
          <a:xfrm flipH="1" flipV="1">
            <a:off x="10611155" y="2947183"/>
            <a:ext cx="48986" cy="3075214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2177031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90171378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397" y="989748"/>
            <a:ext cx="280980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978727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7281" y="989748"/>
            <a:ext cx="2809801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8913" y="989748"/>
            <a:ext cx="2629960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Current RNAseq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03559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  <p:pic>
        <p:nvPicPr>
          <p:cNvPr id="1026" name="Picture 2" descr="Thanksgiving 2022 - Everything you need to know | National Today">
            <a:extLst>
              <a:ext uri="{FF2B5EF4-FFF2-40B4-BE49-F238E27FC236}">
                <a16:creationId xmlns:a16="http://schemas.microsoft.com/office/drawing/2014/main" id="{05E63AFA-D3AA-A97D-C878-D8A3C5E708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416" y="1593272"/>
            <a:ext cx="3671455" cy="3671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64823500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69806661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71053393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1507D557-AA6E-B399-A6AF-79F17F21485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38640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843981" y="889000"/>
            <a:ext cx="3749744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arenBoth"/>
            </a:pPr>
            <a:r>
              <a:rPr lang="en-US" dirty="0">
                <a:solidFill>
                  <a:srgbClr val="1A3DFF"/>
                </a:solidFill>
              </a:rPr>
              <a:t>iPSC vs NGN2 cells</a:t>
            </a:r>
          </a:p>
          <a:p>
            <a:pPr marL="342900" indent="-342900">
              <a:buAutoNum type="arabicParenBoth"/>
            </a:pPr>
            <a:endParaRPr lang="en-US" dirty="0">
              <a:solidFill>
                <a:srgbClr val="1A3DFF"/>
              </a:solidFill>
            </a:endParaRPr>
          </a:p>
          <a:p>
            <a:pPr marL="342900" indent="-342900">
              <a:buAutoNum type="arabicParenBoth"/>
            </a:pPr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batch vs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</a:t>
            </a:r>
          </a:p>
          <a:p>
            <a:pPr marL="342900" indent="-342900">
              <a:buAutoNum type="arabicParenBoth"/>
            </a:pPr>
            <a:endParaRPr lang="en-US" dirty="0">
              <a:solidFill>
                <a:srgbClr val="1A3DFF"/>
              </a:solidFill>
            </a:endParaRPr>
          </a:p>
          <a:p>
            <a:pPr marL="342900" indent="-342900">
              <a:buAutoNum type="arabicParenBoth"/>
            </a:pPr>
            <a:r>
              <a:rPr lang="en-US" dirty="0">
                <a:solidFill>
                  <a:srgbClr val="1A3DFF"/>
                </a:solidFill>
              </a:rPr>
              <a:t>DSG consistency   </a:t>
            </a:r>
          </a:p>
          <a:p>
            <a:pPr marL="342900" indent="-342900">
              <a:buAutoNum type="arabicParenBoth"/>
            </a:pPr>
            <a:endParaRPr lang="en-US" dirty="0">
              <a:solidFill>
                <a:srgbClr val="1A3DFF"/>
              </a:solidFill>
            </a:endParaRPr>
          </a:p>
          <a:p>
            <a:pPr marL="342900" indent="-342900">
              <a:buAutoNum type="arabicParenBoth"/>
            </a:pPr>
            <a:r>
              <a:rPr lang="en-US" dirty="0">
                <a:solidFill>
                  <a:srgbClr val="1A3DFF"/>
                </a:solidFill>
              </a:rPr>
              <a:t>Across compounds comparis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E9B15C9-E993-8EEA-0684-016E572B5F55}"/>
              </a:ext>
            </a:extLst>
          </p:cNvPr>
          <p:cNvSpPr/>
          <p:nvPr/>
        </p:nvSpPr>
        <p:spPr>
          <a:xfrm>
            <a:off x="843981" y="4046898"/>
            <a:ext cx="10787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0625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643474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Compounds consistenc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013300" y="2868616"/>
            <a:ext cx="49680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DSG across multiple compounds in iPSC cell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0D0FBE-9AFE-FEDA-C034-E01CC9B41E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73" y="641350"/>
            <a:ext cx="6769100" cy="557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592031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Compounds consistenc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75060" y="2553656"/>
            <a:ext cx="50834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DSG across multiple compounds in NGN2 cell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0AE1A8-11E7-EC0F-800F-600AB14258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674" y="0"/>
            <a:ext cx="3514546" cy="632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0093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DSG and </a:t>
            </a:r>
            <a:r>
              <a:rPr lang="en-US" sz="2000" dirty="0" err="1"/>
              <a:t>dPSI</a:t>
            </a:r>
            <a:r>
              <a:rPr lang="en-US" sz="2000" dirty="0"/>
              <a:t> in </a:t>
            </a:r>
            <a:r>
              <a:rPr lang="en-US" sz="2000" dirty="0" err="1"/>
              <a:t>eoi</a:t>
            </a:r>
            <a:r>
              <a:rPr lang="en-US" sz="2000" dirty="0"/>
              <a:t> (</a:t>
            </a:r>
            <a:r>
              <a:rPr lang="en-US" sz="2000" dirty="0">
                <a:solidFill>
                  <a:srgbClr val="FF0000"/>
                </a:solidFill>
              </a:rPr>
              <a:t>1</a:t>
            </a:r>
            <a:r>
              <a:rPr lang="en-US" sz="2000" baseline="30000" dirty="0">
                <a:solidFill>
                  <a:srgbClr val="FF0000"/>
                </a:solidFill>
              </a:rPr>
              <a:t>st</a:t>
            </a:r>
            <a:r>
              <a:rPr lang="en-US" sz="2000" dirty="0">
                <a:solidFill>
                  <a:srgbClr val="FF0000"/>
                </a:solidFill>
              </a:rPr>
              <a:t> batch</a:t>
            </a:r>
            <a:r>
              <a:rPr lang="en-US" sz="2000" dirty="0"/>
              <a:t>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1912F37-7DFF-E9BE-1740-42F0E08611F8}"/>
              </a:ext>
            </a:extLst>
          </p:cNvPr>
          <p:cNvSpPr txBox="1"/>
          <p:nvPr/>
        </p:nvSpPr>
        <p:spPr>
          <a:xfrm>
            <a:off x="734863" y="704334"/>
            <a:ext cx="3159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Updated </a:t>
            </a:r>
            <a:r>
              <a:rPr lang="en-US" dirty="0" err="1">
                <a:solidFill>
                  <a:srgbClr val="1A3DFF"/>
                </a:solidFill>
              </a:rPr>
              <a:t>dPSI</a:t>
            </a:r>
            <a:r>
              <a:rPr lang="en-US" dirty="0">
                <a:solidFill>
                  <a:srgbClr val="1A3DFF"/>
                </a:solidFill>
              </a:rPr>
              <a:t> from leafcutter</a:t>
            </a:r>
          </a:p>
        </p:txBody>
      </p:sp>
      <p:pic>
        <p:nvPicPr>
          <p:cNvPr id="8" name="Picture 7" descr="Chart&#10;&#10;Description automatically generated">
            <a:extLst>
              <a:ext uri="{FF2B5EF4-FFF2-40B4-BE49-F238E27FC236}">
                <a16:creationId xmlns:a16="http://schemas.microsoft.com/office/drawing/2014/main" id="{5B3CCB63-0BEC-9257-3CFE-D6ACEFD719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59" y="1235245"/>
            <a:ext cx="3171501" cy="3171501"/>
          </a:xfrm>
          <a:prstGeom prst="rect">
            <a:avLst/>
          </a:prstGeom>
        </p:spPr>
      </p:pic>
      <p:pic>
        <p:nvPicPr>
          <p:cNvPr id="10" name="Picture 9" descr="Chart&#10;&#10;Description automatically generated">
            <a:extLst>
              <a:ext uri="{FF2B5EF4-FFF2-40B4-BE49-F238E27FC236}">
                <a16:creationId xmlns:a16="http://schemas.microsoft.com/office/drawing/2014/main" id="{BFE0D41A-07FA-CEF3-9D59-45348D5BD3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269" y="1235244"/>
            <a:ext cx="3171501" cy="317150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4674301" y="652921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1A3DFF"/>
                </a:solidFill>
              </a:rPr>
              <a:t>dPSI</a:t>
            </a:r>
            <a:r>
              <a:rPr lang="en-US" dirty="0">
                <a:solidFill>
                  <a:srgbClr val="1A3DFF"/>
                </a:solidFill>
              </a:rPr>
              <a:t> from </a:t>
            </a:r>
            <a:r>
              <a:rPr lang="en-US" dirty="0" err="1">
                <a:solidFill>
                  <a:srgbClr val="1A3DFF"/>
                </a:solidFill>
              </a:rPr>
              <a:t>majiq</a:t>
            </a:r>
            <a:endParaRPr lang="en-US" dirty="0">
              <a:solidFill>
                <a:srgbClr val="1A3DFF"/>
              </a:solidFill>
            </a:endParaRPr>
          </a:p>
        </p:txBody>
      </p:sp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BB732836-7D1D-CDFE-C56D-008FDDC9B7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5363" y="1235245"/>
            <a:ext cx="3279356" cy="327935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17FB120-999F-8647-AD95-7756F525448E}"/>
              </a:ext>
            </a:extLst>
          </p:cNvPr>
          <p:cNvSpPr txBox="1"/>
          <p:nvPr/>
        </p:nvSpPr>
        <p:spPr>
          <a:xfrm>
            <a:off x="8524860" y="690755"/>
            <a:ext cx="2672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leafcutter </a:t>
            </a:r>
            <a:r>
              <a:rPr lang="en-US" dirty="0" err="1">
                <a:solidFill>
                  <a:srgbClr val="1A3DFF"/>
                </a:solidFill>
              </a:rPr>
              <a:t>majiq</a:t>
            </a:r>
            <a:r>
              <a:rPr lang="en-US" dirty="0">
                <a:solidFill>
                  <a:srgbClr val="1A3DFF"/>
                </a:solidFill>
              </a:rPr>
              <a:t> merged</a:t>
            </a:r>
          </a:p>
        </p:txBody>
      </p:sp>
    </p:spTree>
    <p:extLst>
      <p:ext uri="{BB962C8B-B14F-4D97-AF65-F5344CB8AC3E}">
        <p14:creationId xmlns:p14="http://schemas.microsoft.com/office/powerpoint/2010/main" val="1098799431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FF0000"/>
                </a:solidFill>
              </a:rPr>
              <a:t>1</a:t>
            </a:r>
            <a:r>
              <a:rPr lang="en-US" sz="2000" baseline="30000" dirty="0">
                <a:solidFill>
                  <a:srgbClr val="FF0000"/>
                </a:solidFill>
              </a:rPr>
              <a:t>st</a:t>
            </a:r>
            <a:r>
              <a:rPr lang="en-US" sz="2000" dirty="0">
                <a:solidFill>
                  <a:srgbClr val="FF0000"/>
                </a:solidFill>
              </a:rPr>
              <a:t> and 2</a:t>
            </a:r>
            <a:r>
              <a:rPr lang="en-US" sz="2000" baseline="30000" dirty="0">
                <a:solidFill>
                  <a:srgbClr val="FF0000"/>
                </a:solidFill>
              </a:rPr>
              <a:t>nd</a:t>
            </a:r>
            <a:r>
              <a:rPr lang="en-US" sz="2000" dirty="0">
                <a:solidFill>
                  <a:srgbClr val="FF0000"/>
                </a:solidFill>
              </a:rPr>
              <a:t> batch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341" y="504226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429000"/>
            <a:ext cx="2313780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581894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0023" y="660400"/>
            <a:ext cx="5035859" cy="553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963971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4" y="148551"/>
            <a:ext cx="11425211" cy="684355"/>
          </a:xfrm>
        </p:spPr>
        <p:txBody>
          <a:bodyPr/>
          <a:lstStyle/>
          <a:p>
            <a:r>
              <a:rPr lang="en-US" sz="2000" dirty="0"/>
              <a:t>DSG: 1</a:t>
            </a:r>
            <a:r>
              <a:rPr lang="en-US" sz="2000" baseline="30000" dirty="0"/>
              <a:t>st</a:t>
            </a:r>
            <a:r>
              <a:rPr lang="en-US" sz="2000" dirty="0"/>
              <a:t> batch and 2</a:t>
            </a:r>
            <a:r>
              <a:rPr lang="en-US" sz="2000" baseline="30000" dirty="0"/>
              <a:t>nd</a:t>
            </a:r>
            <a:r>
              <a:rPr lang="en-US" sz="2000" dirty="0"/>
              <a:t> batch</a:t>
            </a: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51DB4962-D3D8-81F7-EDA9-9609C08E3CE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 descr="Chart&#10;&#10;Description automatically generated">
            <a:extLst>
              <a:ext uri="{FF2B5EF4-FFF2-40B4-BE49-F238E27FC236}">
                <a16:creationId xmlns:a16="http://schemas.microsoft.com/office/drawing/2014/main" id="{C88F3CB2-61C7-2A7F-9E32-87E9BE8ABC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23" y="938989"/>
            <a:ext cx="3873056" cy="498002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E9B08DC-0D06-E050-05F1-8867DB002D9E}"/>
              </a:ext>
            </a:extLst>
          </p:cNvPr>
          <p:cNvSpPr txBox="1"/>
          <p:nvPr/>
        </p:nvSpPr>
        <p:spPr>
          <a:xfrm>
            <a:off x="324090" y="2010136"/>
            <a:ext cx="2284071" cy="443697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73BE5F-A41C-4980-1A76-C1A3A21FD8C0}"/>
              </a:ext>
            </a:extLst>
          </p:cNvPr>
          <p:cNvSpPr txBox="1"/>
          <p:nvPr/>
        </p:nvSpPr>
        <p:spPr>
          <a:xfrm>
            <a:off x="677226" y="471600"/>
            <a:ext cx="1061509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batch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1DE500-C1C3-DFE5-6B52-FB9AF10E6A5A}"/>
              </a:ext>
            </a:extLst>
          </p:cNvPr>
          <p:cNvSpPr txBox="1"/>
          <p:nvPr/>
        </p:nvSpPr>
        <p:spPr>
          <a:xfrm>
            <a:off x="7161261" y="516616"/>
            <a:ext cx="1111202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</a:t>
            </a:r>
          </a:p>
        </p:txBody>
      </p:sp>
      <p:pic>
        <p:nvPicPr>
          <p:cNvPr id="3" name="Picture 6" descr="Chart, timeline&#10;&#10;Description automatically generated">
            <a:extLst>
              <a:ext uri="{FF2B5EF4-FFF2-40B4-BE49-F238E27FC236}">
                <a16:creationId xmlns:a16="http://schemas.microsoft.com/office/drawing/2014/main" id="{4326D772-CFB4-8AA4-762C-27855AAAFC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9730" y="1151561"/>
            <a:ext cx="3028350" cy="463130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D8C4A76-5A36-8CAA-DCE6-F89FFDF8CE4D}"/>
              </a:ext>
            </a:extLst>
          </p:cNvPr>
          <p:cNvSpPr txBox="1"/>
          <p:nvPr/>
        </p:nvSpPr>
        <p:spPr>
          <a:xfrm>
            <a:off x="6882363" y="2289438"/>
            <a:ext cx="2085985" cy="203201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2D9ADB-D794-F8A2-1A2E-BBCAF2D1A59B}"/>
              </a:ext>
            </a:extLst>
          </p:cNvPr>
          <p:cNvSpPr txBox="1"/>
          <p:nvPr/>
        </p:nvSpPr>
        <p:spPr>
          <a:xfrm>
            <a:off x="6902683" y="4328269"/>
            <a:ext cx="2085985" cy="203201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204578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AC013C9-03D4-E2E4-AB2B-A5AA286E8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194012"/>
            <a:ext cx="11425211" cy="684355"/>
          </a:xfrm>
        </p:spPr>
        <p:txBody>
          <a:bodyPr/>
          <a:lstStyle/>
          <a:p>
            <a:r>
              <a:rPr lang="en-US" dirty="0"/>
              <a:t>Design</a:t>
            </a:r>
          </a:p>
        </p:txBody>
      </p:sp>
    </p:spTree>
    <p:extLst>
      <p:ext uri="{BB962C8B-B14F-4D97-AF65-F5344CB8AC3E}">
        <p14:creationId xmlns:p14="http://schemas.microsoft.com/office/powerpoint/2010/main" val="1858683460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AC013C9-03D4-E2E4-AB2B-A5AA286E8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C</a:t>
            </a:r>
          </a:p>
        </p:txBody>
      </p:sp>
    </p:spTree>
    <p:extLst>
      <p:ext uri="{BB962C8B-B14F-4D97-AF65-F5344CB8AC3E}">
        <p14:creationId xmlns:p14="http://schemas.microsoft.com/office/powerpoint/2010/main" val="1224368626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4" y="317660"/>
            <a:ext cx="11425211" cy="684355"/>
          </a:xfrm>
        </p:spPr>
        <p:txBody>
          <a:bodyPr/>
          <a:lstStyle/>
          <a:p>
            <a:r>
              <a:rPr lang="en-US" sz="2400" dirty="0"/>
              <a:t>Huntingtin protein (HTT)  and Huntington </a:t>
            </a:r>
            <a:r>
              <a:rPr lang="en-US" sz="2400" dirty="0" err="1"/>
              <a:t>Diseass</a:t>
            </a:r>
            <a:r>
              <a:rPr lang="en-US" sz="2400" dirty="0"/>
              <a:t> (HD)</a:t>
            </a:r>
          </a:p>
        </p:txBody>
      </p:sp>
      <p:pic>
        <p:nvPicPr>
          <p:cNvPr id="1026" name="Picture 2" descr="Abstract Image">
            <a:extLst>
              <a:ext uri="{FF2B5EF4-FFF2-40B4-BE49-F238E27FC236}">
                <a16:creationId xmlns:a16="http://schemas.microsoft.com/office/drawing/2014/main" id="{88E7CB22-C814-7853-D634-7D845F3B9A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8778" y="1317338"/>
            <a:ext cx="3850227" cy="3044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320F0009-23E9-4342-D1E6-3EB6AA601F25}"/>
              </a:ext>
            </a:extLst>
          </p:cNvPr>
          <p:cNvSpPr txBox="1"/>
          <p:nvPr/>
        </p:nvSpPr>
        <p:spPr>
          <a:xfrm>
            <a:off x="236306" y="4698737"/>
            <a:ext cx="1181269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1A3DFF"/>
              </a:buClr>
              <a:buSzPct val="150000"/>
              <a:buFont typeface="Wingdings" pitchFamily="2" charset="2"/>
              <a:buChar char="Ø"/>
            </a:pPr>
            <a:r>
              <a:rPr lang="en-US" sz="1600" b="0" i="0" dirty="0" err="1">
                <a:solidFill>
                  <a:srgbClr val="000000"/>
                </a:solidFill>
                <a:effectLst/>
                <a:latin typeface="Georgia" panose="02040502050405020303" pitchFamily="18" charset="0"/>
              </a:rPr>
              <a:t>mHTT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Georgia" panose="02040502050405020303" pitchFamily="18" charset="0"/>
              </a:rPr>
              <a:t> is believed be responsible for Huntington’s Disease (HD)</a:t>
            </a:r>
          </a:p>
          <a:p>
            <a:pPr marL="285750" indent="-285750">
              <a:buClr>
                <a:srgbClr val="1A3DFF"/>
              </a:buClr>
              <a:buSzPct val="150000"/>
              <a:buFont typeface="Wingdings" pitchFamily="2" charset="2"/>
              <a:buChar char="Ø"/>
            </a:pPr>
            <a:endParaRPr lang="en-US" sz="1600" b="0" i="0" dirty="0">
              <a:solidFill>
                <a:srgbClr val="000000"/>
              </a:solidFill>
              <a:effectLst/>
              <a:latin typeface="Georgia" panose="02040502050405020303" pitchFamily="18" charset="0"/>
            </a:endParaRPr>
          </a:p>
          <a:p>
            <a:pPr marL="285750" indent="-285750">
              <a:buClr>
                <a:srgbClr val="1A3DFF"/>
              </a:buClr>
              <a:buSzPct val="150000"/>
              <a:buFont typeface="Wingdings" pitchFamily="2" charset="2"/>
              <a:buChar char="Ø"/>
            </a:pPr>
            <a:r>
              <a:rPr lang="en-US" sz="1600" dirty="0" err="1">
                <a:solidFill>
                  <a:srgbClr val="000000"/>
                </a:solidFill>
                <a:latin typeface="Georgia" panose="02040502050405020303" pitchFamily="18" charset="0"/>
              </a:rPr>
              <a:t>wtHTT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Georgia" panose="02040502050405020303" pitchFamily="18" charset="0"/>
              </a:rPr>
              <a:t> contains fewer (not more than 35 Qs) polyglutamine residues while </a:t>
            </a:r>
            <a:r>
              <a:rPr lang="en-US" sz="1600" b="0" i="0" dirty="0" err="1">
                <a:solidFill>
                  <a:srgbClr val="000000"/>
                </a:solidFill>
                <a:effectLst/>
                <a:latin typeface="Georgia" panose="02040502050405020303" pitchFamily="18" charset="0"/>
              </a:rPr>
              <a:t>mHTT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Georgia" panose="02040502050405020303" pitchFamily="18" charset="0"/>
              </a:rPr>
              <a:t> has  more than 35 Qs</a:t>
            </a:r>
          </a:p>
          <a:p>
            <a:pPr marL="285750" indent="-285750">
              <a:buClr>
                <a:srgbClr val="1A3DFF"/>
              </a:buClr>
              <a:buSzPct val="150000"/>
              <a:buFont typeface="Wingdings" pitchFamily="2" charset="2"/>
              <a:buChar char="Ø"/>
            </a:pPr>
            <a:endParaRPr lang="en-US" sz="1600" dirty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 marL="285750" indent="-285750">
              <a:buClr>
                <a:srgbClr val="1A3DFF"/>
              </a:buClr>
              <a:buSzPct val="150000"/>
              <a:buFont typeface="Wingdings" pitchFamily="2" charset="2"/>
              <a:buChar char="Ø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Georgia" panose="02040502050405020303" pitchFamily="18" charset="0"/>
              </a:rPr>
              <a:t>A general assumption:  short </a:t>
            </a:r>
            <a:r>
              <a:rPr lang="en-US" sz="1600" b="0" i="0" dirty="0" err="1">
                <a:solidFill>
                  <a:srgbClr val="000000"/>
                </a:solidFill>
                <a:effectLst/>
                <a:latin typeface="Georgia" panose="02040502050405020303" pitchFamily="18" charset="0"/>
              </a:rPr>
              <a:t>polyP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Georgia" panose="02040502050405020303" pitchFamily="18" charset="0"/>
              </a:rPr>
              <a:t> domain is that it might act as an antagonist for </a:t>
            </a:r>
            <a:r>
              <a:rPr lang="el-GR" sz="1600" b="0" i="0" dirty="0">
                <a:solidFill>
                  <a:srgbClr val="000000"/>
                </a:solidFill>
                <a:effectLst/>
                <a:latin typeface="Georgia" panose="02040502050405020303" pitchFamily="18" charset="0"/>
              </a:rPr>
              <a:t>β-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Georgia" panose="02040502050405020303" pitchFamily="18" charset="0"/>
              </a:rPr>
              <a:t>sheet formation and keep HTT soluble</a:t>
            </a:r>
            <a:endParaRPr lang="en-US" sz="1600" dirty="0"/>
          </a:p>
        </p:txBody>
      </p:sp>
      <p:pic>
        <p:nvPicPr>
          <p:cNvPr id="1041" name="Picture 17" descr="mHTT Protein: The Fundamental Cause of Huntington's Disease">
            <a:extLst>
              <a:ext uri="{FF2B5EF4-FFF2-40B4-BE49-F238E27FC236}">
                <a16:creationId xmlns:a16="http://schemas.microsoft.com/office/drawing/2014/main" id="{CE92D12C-DF29-B45C-4E35-B999DF90D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394" y="1510955"/>
            <a:ext cx="2971800" cy="274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5" name="Picture 21" descr="Potential molecular pathogenesis of toxicity of mHtt aggregates. Mutant...  | Download Scientific Diagram">
            <a:extLst>
              <a:ext uri="{FF2B5EF4-FFF2-40B4-BE49-F238E27FC236}">
                <a16:creationId xmlns:a16="http://schemas.microsoft.com/office/drawing/2014/main" id="{1B2DC9BE-6394-E713-A8AB-066DFA4E9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7555" y="1338666"/>
            <a:ext cx="3938951" cy="2979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A4AB702A-EE00-2DBE-C6A9-DEF71AD844F5}"/>
              </a:ext>
            </a:extLst>
          </p:cNvPr>
          <p:cNvSpPr txBox="1"/>
          <p:nvPr/>
        </p:nvSpPr>
        <p:spPr>
          <a:xfrm>
            <a:off x="387604" y="904092"/>
            <a:ext cx="505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(A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D591309-5578-749C-4CBF-92D501474FC9}"/>
              </a:ext>
            </a:extLst>
          </p:cNvPr>
          <p:cNvSpPr txBox="1"/>
          <p:nvPr/>
        </p:nvSpPr>
        <p:spPr>
          <a:xfrm>
            <a:off x="3926625" y="925422"/>
            <a:ext cx="505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(B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BD67339-C586-0C74-DE45-6706D9C57A1F}"/>
              </a:ext>
            </a:extLst>
          </p:cNvPr>
          <p:cNvSpPr txBox="1"/>
          <p:nvPr/>
        </p:nvSpPr>
        <p:spPr>
          <a:xfrm>
            <a:off x="8198778" y="933254"/>
            <a:ext cx="505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(C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9ED48B8-9837-AB0C-B09C-F79F354E849B}"/>
              </a:ext>
            </a:extLst>
          </p:cNvPr>
          <p:cNvSpPr txBox="1"/>
          <p:nvPr/>
        </p:nvSpPr>
        <p:spPr>
          <a:xfrm>
            <a:off x="9642283" y="4698737"/>
            <a:ext cx="240672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200" b="0" i="1" dirty="0">
                <a:solidFill>
                  <a:srgbClr val="1A3DFF"/>
                </a:solidFill>
                <a:effectLst/>
                <a:latin typeface="Roboto" panose="02000000000000000000" pitchFamily="2" charset="0"/>
              </a:rPr>
              <a:t>Plots from </a:t>
            </a:r>
            <a:r>
              <a:rPr lang="en-US" sz="1200" b="0" i="1" dirty="0" err="1">
                <a:solidFill>
                  <a:srgbClr val="1A3DFF"/>
                </a:solidFill>
                <a:effectLst/>
                <a:latin typeface="Roboto" panose="02000000000000000000" pitchFamily="2" charset="0"/>
              </a:rPr>
              <a:t>Sanda</a:t>
            </a:r>
            <a:r>
              <a:rPr lang="en-US" sz="1200" b="0" i="1" dirty="0">
                <a:solidFill>
                  <a:srgbClr val="1A3DFF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sz="1200" b="0" i="1" dirty="0" err="1">
                <a:solidFill>
                  <a:srgbClr val="1A3DFF"/>
                </a:solidFill>
                <a:effectLst/>
                <a:latin typeface="Roboto" panose="02000000000000000000" pitchFamily="2" charset="0"/>
              </a:rPr>
              <a:t>Nastasia</a:t>
            </a:r>
            <a:r>
              <a:rPr lang="en-US" sz="1200" b="0" i="1" dirty="0">
                <a:solidFill>
                  <a:srgbClr val="1A3DFF"/>
                </a:solidFill>
                <a:effectLst/>
                <a:latin typeface="Roboto" panose="02000000000000000000" pitchFamily="2" charset="0"/>
              </a:rPr>
              <a:t> et al.</a:t>
            </a:r>
          </a:p>
        </p:txBody>
      </p:sp>
    </p:spTree>
    <p:extLst>
      <p:ext uri="{BB962C8B-B14F-4D97-AF65-F5344CB8AC3E}">
        <p14:creationId xmlns:p14="http://schemas.microsoft.com/office/powerpoint/2010/main" val="1281250897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6AAD085-B8BE-8878-69E9-616C71FAA307}"/>
              </a:ext>
            </a:extLst>
          </p:cNvPr>
          <p:cNvSpPr txBox="1"/>
          <p:nvPr/>
        </p:nvSpPr>
        <p:spPr>
          <a:xfrm>
            <a:off x="801584" y="578551"/>
            <a:ext cx="1024840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B1B1B"/>
                </a:solidFill>
                <a:latin typeface="Helvetica" pitchFamily="2" charset="0"/>
              </a:rPr>
              <a:t>K</a:t>
            </a:r>
            <a:r>
              <a:rPr lang="en-US" dirty="0">
                <a:solidFill>
                  <a:srgbClr val="1B1B1B"/>
                </a:solidFill>
                <a:effectLst/>
                <a:latin typeface="Helvetica" pitchFamily="2" charset="0"/>
              </a:rPr>
              <a:t>ey points:</a:t>
            </a:r>
          </a:p>
          <a:p>
            <a:endParaRPr lang="en-US" dirty="0">
              <a:solidFill>
                <a:srgbClr val="1B1B1B"/>
              </a:solidFill>
              <a:effectLst/>
              <a:latin typeface="Helvetica" pitchFamily="2" charset="0"/>
            </a:endParaRPr>
          </a:p>
          <a:p>
            <a:pPr marL="285750" indent="-285750">
              <a:buClr>
                <a:srgbClr val="0432FF"/>
              </a:buClr>
              <a:buFont typeface="Wingdings" pitchFamily="2" charset="2"/>
              <a:buChar char="Ø"/>
            </a:pPr>
            <a:r>
              <a:rPr lang="en-US" dirty="0">
                <a:solidFill>
                  <a:srgbClr val="1B1B1B"/>
                </a:solidFill>
                <a:effectLst/>
                <a:latin typeface="Helvetica" pitchFamily="2" charset="0"/>
              </a:rPr>
              <a:t>Goals of study/analysis</a:t>
            </a:r>
          </a:p>
          <a:p>
            <a:pPr marL="285750" indent="-285750">
              <a:buClr>
                <a:srgbClr val="0432FF"/>
              </a:buClr>
              <a:buFont typeface="Wingdings" pitchFamily="2" charset="2"/>
              <a:buChar char="Ø"/>
            </a:pPr>
            <a:endParaRPr lang="en-US" dirty="0">
              <a:solidFill>
                <a:srgbClr val="1B1B1B"/>
              </a:solidFill>
              <a:effectLst/>
              <a:latin typeface="Helvetica" pitchFamily="2" charset="0"/>
            </a:endParaRPr>
          </a:p>
          <a:p>
            <a:pPr marL="285750" indent="-285750">
              <a:buClr>
                <a:srgbClr val="0432FF"/>
              </a:buClr>
              <a:buFont typeface="Wingdings" pitchFamily="2" charset="2"/>
              <a:buChar char="Ø"/>
            </a:pPr>
            <a:r>
              <a:rPr lang="en-US" dirty="0">
                <a:solidFill>
                  <a:srgbClr val="1B1B1B"/>
                </a:solidFill>
                <a:effectLst/>
                <a:latin typeface="Helvetica" pitchFamily="2" charset="0"/>
              </a:rPr>
              <a:t>Study design</a:t>
            </a:r>
          </a:p>
          <a:p>
            <a:pPr marL="285750" indent="-285750">
              <a:buClr>
                <a:srgbClr val="0432FF"/>
              </a:buClr>
              <a:buFont typeface="Wingdings" pitchFamily="2" charset="2"/>
              <a:buChar char="Ø"/>
            </a:pPr>
            <a:endParaRPr lang="en-US" dirty="0">
              <a:solidFill>
                <a:srgbClr val="1B1B1B"/>
              </a:solidFill>
              <a:effectLst/>
              <a:latin typeface="Helvetica" pitchFamily="2" charset="0"/>
            </a:endParaRPr>
          </a:p>
          <a:p>
            <a:pPr marL="285750" indent="-285750">
              <a:buClr>
                <a:srgbClr val="0432FF"/>
              </a:buClr>
              <a:buFont typeface="Wingdings" pitchFamily="2" charset="2"/>
              <a:buChar char="Ø"/>
            </a:pPr>
            <a:r>
              <a:rPr lang="en-US" dirty="0">
                <a:solidFill>
                  <a:srgbClr val="1B1B1B"/>
                </a:solidFill>
                <a:effectLst/>
                <a:latin typeface="Helvetica" pitchFamily="2" charset="0"/>
              </a:rPr>
              <a:t>Summary of QC of results</a:t>
            </a:r>
          </a:p>
          <a:p>
            <a:pPr marL="285750" indent="-285750">
              <a:buClr>
                <a:srgbClr val="0432FF"/>
              </a:buClr>
              <a:buFont typeface="Wingdings" pitchFamily="2" charset="2"/>
              <a:buChar char="Ø"/>
            </a:pPr>
            <a:endParaRPr lang="en-US" dirty="0">
              <a:solidFill>
                <a:srgbClr val="1B1B1B"/>
              </a:solidFill>
              <a:effectLst/>
              <a:latin typeface="Helvetica" pitchFamily="2" charset="0"/>
            </a:endParaRPr>
          </a:p>
          <a:p>
            <a:pPr marL="285750" indent="-285750">
              <a:buClr>
                <a:srgbClr val="0432FF"/>
              </a:buClr>
              <a:buFont typeface="Wingdings" pitchFamily="2" charset="2"/>
              <a:buChar char="Ø"/>
            </a:pPr>
            <a:r>
              <a:rPr lang="en-US" dirty="0">
                <a:solidFill>
                  <a:srgbClr val="1B1B1B"/>
                </a:solidFill>
                <a:effectLst/>
                <a:latin typeface="Helvetica" pitchFamily="2" charset="0"/>
              </a:rPr>
              <a:t>Deep dive into off targets, </a:t>
            </a:r>
            <a:r>
              <a:rPr lang="en-US" dirty="0" err="1">
                <a:solidFill>
                  <a:srgbClr val="1B1B1B"/>
                </a:solidFill>
                <a:effectLst/>
                <a:latin typeface="Helvetica" pitchFamily="2" charset="0"/>
              </a:rPr>
              <a:t>e.g</a:t>
            </a:r>
            <a:endParaRPr lang="en-US" dirty="0">
              <a:solidFill>
                <a:srgbClr val="1B1B1B"/>
              </a:solidFill>
              <a:effectLst/>
              <a:latin typeface="Helvetica" pitchFamily="2" charset="0"/>
            </a:endParaRPr>
          </a:p>
          <a:p>
            <a:pPr marL="285750" indent="-285750">
              <a:buClr>
                <a:srgbClr val="0432FF"/>
              </a:buClr>
              <a:buFont typeface="Wingdings" pitchFamily="2" charset="2"/>
              <a:buChar char="Ø"/>
            </a:pPr>
            <a:endParaRPr lang="en-US" dirty="0">
              <a:solidFill>
                <a:srgbClr val="1B1B1B"/>
              </a:solidFill>
              <a:effectLst/>
              <a:latin typeface="Helvetica" pitchFamily="2" charset="0"/>
            </a:endParaRPr>
          </a:p>
          <a:p>
            <a:pPr marL="742950" lvl="1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B1B1B"/>
                </a:solidFill>
                <a:effectLst/>
                <a:latin typeface="Helvetica" pitchFamily="2" charset="0"/>
              </a:rPr>
              <a:t>Visualizations of OT frequencies, rankings, etc.</a:t>
            </a:r>
          </a:p>
          <a:p>
            <a:pPr marL="742950" lvl="1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US" dirty="0">
              <a:solidFill>
                <a:srgbClr val="1B1B1B"/>
              </a:solidFill>
              <a:effectLst/>
              <a:latin typeface="Helvetica" pitchFamily="2" charset="0"/>
            </a:endParaRPr>
          </a:p>
          <a:p>
            <a:pPr marL="742950" lvl="1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B1B1B"/>
                </a:solidFill>
                <a:effectLst/>
                <a:latin typeface="Helvetica" pitchFamily="2" charset="0"/>
              </a:rPr>
              <a:t>Similarities/differences between compound profiles in each cell type</a:t>
            </a:r>
          </a:p>
          <a:p>
            <a:pPr marL="742950" lvl="1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US" dirty="0">
              <a:solidFill>
                <a:srgbClr val="1B1B1B"/>
              </a:solidFill>
              <a:effectLst/>
              <a:latin typeface="Helvetica" pitchFamily="2" charset="0"/>
            </a:endParaRPr>
          </a:p>
          <a:p>
            <a:pPr marL="742950" lvl="1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B1B1B"/>
                </a:solidFill>
                <a:effectLst/>
                <a:latin typeface="Helvetica" pitchFamily="2" charset="0"/>
              </a:rPr>
              <a:t>Similarities/differences between cell typ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71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5628052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KPuu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CHMARK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G and </a:t>
            </a:r>
            <a:r>
              <a:rPr lang="en-US" dirty="0" err="1"/>
              <a:t>dPSI</a:t>
            </a:r>
            <a:r>
              <a:rPr lang="en-US" dirty="0"/>
              <a:t> in </a:t>
            </a:r>
            <a:r>
              <a:rPr lang="en-US" dirty="0" err="1"/>
              <a:t>eoi</a:t>
            </a:r>
            <a:endParaRPr lang="en-US" dirty="0"/>
          </a:p>
        </p:txBody>
      </p:sp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0751F1D0-D7CB-F344-85A4-6392271F6F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67" y="888999"/>
            <a:ext cx="5554580" cy="4940969"/>
          </a:xfrm>
          <a:prstGeom prst="rect">
            <a:avLst/>
          </a:prstGeom>
        </p:spPr>
      </p:pic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F8D32894-9120-434B-BDBD-F4597693C6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889000"/>
            <a:ext cx="6052081" cy="4832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650244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6" y="548135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Expression heatmap for iPSC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35FAD9E-43D8-E347-80B0-811FC8C79336}"/>
              </a:ext>
            </a:extLst>
          </p:cNvPr>
          <p:cNvSpPr txBox="1">
            <a:spLocks/>
          </p:cNvSpPr>
          <p:nvPr/>
        </p:nvSpPr>
        <p:spPr>
          <a:xfrm>
            <a:off x="6948172" y="563835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Expression heatmap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FA6DFA-1311-FB4B-9EEF-B91294EF5B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172" y="923025"/>
            <a:ext cx="4661236" cy="52924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D75AF3-7C5C-DD4D-AA43-31CDEFF6A9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152" y="891625"/>
            <a:ext cx="4661237" cy="5370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508669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1E27DCAD-57E4-4181-9D3C-F510D39E027D}"/>
              </a:ext>
            </a:extLst>
          </p:cNvPr>
          <p:cNvSpPr txBox="1">
            <a:spLocks/>
          </p:cNvSpPr>
          <p:nvPr/>
        </p:nvSpPr>
        <p:spPr>
          <a:xfrm>
            <a:off x="11820642" y="6564201"/>
            <a:ext cx="438036" cy="29260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BAA4E-5F47-E640-8B90-67FB6D90528D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6" descr="Chart, timeline&#10;&#10;Description automatically generated">
            <a:extLst>
              <a:ext uri="{FF2B5EF4-FFF2-40B4-BE49-F238E27FC236}">
                <a16:creationId xmlns:a16="http://schemas.microsoft.com/office/drawing/2014/main" id="{8FDCAFE7-96F1-26F6-377E-B2C25051EB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9729" y="104553"/>
            <a:ext cx="4011589" cy="6134986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520BF706-F0D6-D32F-3A98-0B16547212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468" y="128392"/>
            <a:ext cx="5472223" cy="599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96443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/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URAGU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MN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611404" y="5816450"/>
            <a:ext cx="4457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(ref: </a:t>
            </a:r>
            <a:r>
              <a:rPr lang="en-US" sz="1200" dirty="0" err="1"/>
              <a:t>Ratni</a:t>
            </a:r>
            <a:r>
              <a:rPr lang="en-US" sz="1200" dirty="0"/>
              <a:t> Roche review, Progress Medicinal Chem V58, 2019)</a:t>
            </a:r>
          </a:p>
        </p:txBody>
      </p:sp>
    </p:spTree>
    <p:extLst>
      <p:ext uri="{BB962C8B-B14F-4D97-AF65-F5344CB8AC3E}">
        <p14:creationId xmlns:p14="http://schemas.microsoft.com/office/powerpoint/2010/main" val="241228850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97B296AC-5CD2-E00D-4F10-159CC623A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ABAB29AB-6149-8D41-AAFC-F1B037CAD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D2075E-82C8-09A3-4CE6-4CF6346073E3}"/>
              </a:ext>
            </a:extLst>
          </p:cNvPr>
          <p:cNvSpPr/>
          <p:nvPr/>
        </p:nvSpPr>
        <p:spPr>
          <a:xfrm>
            <a:off x="4129704" y="1901152"/>
            <a:ext cx="858646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1E0F7B-CFC6-0F0C-CBEF-906721A9B143}"/>
              </a:ext>
            </a:extLst>
          </p:cNvPr>
          <p:cNvSpPr/>
          <p:nvPr/>
        </p:nvSpPr>
        <p:spPr>
          <a:xfrm>
            <a:off x="6209153" y="1906597"/>
            <a:ext cx="837148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11910</TotalTime>
  <Words>1418</Words>
  <Application>Microsoft Macintosh PowerPoint</Application>
  <PresentationFormat>Widescreen</PresentationFormat>
  <Paragraphs>474</Paragraphs>
  <Slides>43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43</vt:i4>
      </vt:variant>
    </vt:vector>
  </HeadingPairs>
  <TitlesOfParts>
    <vt:vector size="65" baseType="lpstr">
      <vt:lpstr>System Font Regular</vt:lpstr>
      <vt:lpstr>Arial</vt:lpstr>
      <vt:lpstr>Arial Narrow</vt:lpstr>
      <vt:lpstr>Calibri</vt:lpstr>
      <vt:lpstr>Century Gothic</vt:lpstr>
      <vt:lpstr>Georgia</vt:lpstr>
      <vt:lpstr>Helvetica</vt:lpstr>
      <vt:lpstr>Helvetica Neue</vt:lpstr>
      <vt:lpstr>Menlo</vt:lpstr>
      <vt:lpstr>Roboto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Microsoft Excel Worksheet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</vt:lpstr>
      <vt:lpstr>Compounds consistency</vt:lpstr>
      <vt:lpstr>Compounds consistency</vt:lpstr>
      <vt:lpstr>DSG and dPSI in eoi (1st batch)</vt:lpstr>
      <vt:lpstr>Overlapped DSG (1st and 2nd batch)</vt:lpstr>
      <vt:lpstr>Overlapped DSG (1st and 2nd batch mutual support)</vt:lpstr>
      <vt:lpstr>DSG: 1st batch and 2nd batch</vt:lpstr>
      <vt:lpstr>Design</vt:lpstr>
      <vt:lpstr>QC</vt:lpstr>
      <vt:lpstr>Huntingtin protein (HTT)  and Huntington Diseass (HD)</vt:lpstr>
      <vt:lpstr>PowerPoint Presentation</vt:lpstr>
      <vt:lpstr>DSG and dPSI in eoi</vt:lpstr>
      <vt:lpstr>Sample similarity from Gene Express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48</cp:revision>
  <dcterms:created xsi:type="dcterms:W3CDTF">2021-06-27T14:47:41Z</dcterms:created>
  <dcterms:modified xsi:type="dcterms:W3CDTF">2022-11-21T19:56:13Z</dcterms:modified>
</cp:coreProperties>
</file>